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866" r:id="rId2"/>
  </p:sldIdLst>
  <p:sldSz cx="12192000" cy="6858000"/>
  <p:notesSz cx="6797675" cy="9928225"/>
  <p:custDataLst>
    <p:tags r:id="rId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359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077"/>
    <a:srgbClr val="2FABFF"/>
    <a:srgbClr val="0087E2"/>
    <a:srgbClr val="0097FE"/>
    <a:srgbClr val="A1B0C3"/>
    <a:srgbClr val="00325C"/>
    <a:srgbClr val="B8DBEE"/>
    <a:srgbClr val="8497B0"/>
    <a:srgbClr val="DEE3EA"/>
    <a:srgbClr val="D0E7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39" autoAdjust="0"/>
    <p:restoredTop sz="95176" autoAdjust="0"/>
  </p:normalViewPr>
  <p:slideViewPr>
    <p:cSldViewPr>
      <p:cViewPr>
        <p:scale>
          <a:sx n="125" d="100"/>
          <a:sy n="125" d="100"/>
        </p:scale>
        <p:origin x="3018" y="702"/>
      </p:cViewPr>
      <p:guideLst>
        <p:guide orient="horz" pos="1207"/>
        <p:guide pos="3599"/>
      </p:guideLst>
    </p:cSldViewPr>
  </p:slideViewPr>
  <p:outlineViewPr>
    <p:cViewPr>
      <p:scale>
        <a:sx n="33" d="100"/>
        <a:sy n="33" d="100"/>
      </p:scale>
      <p:origin x="0" y="329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4F2CAD-A9BD-425C-82B1-FF773B300F0B}" type="datetimeFigureOut">
              <a:rPr lang="ru-RU" smtClean="0"/>
              <a:t>14.10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1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1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E9EFA1-E9A8-49AE-9E5D-9B7BAA8609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38019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2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412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>
              <a:defRPr sz="1200"/>
            </a:lvl1pPr>
          </a:lstStyle>
          <a:p>
            <a:fld id="{7EAB08BA-4E21-414D-8168-2420ECC8A52F}" type="datetimeFigureOut">
              <a:rPr lang="ru-RU" smtClean="0"/>
              <a:pPr/>
              <a:t>14.10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2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2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30091"/>
            <a:ext cx="2945659" cy="496412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>
              <a:defRPr sz="1200"/>
            </a:lvl1pPr>
          </a:lstStyle>
          <a:p>
            <a:fld id="{DE421BF5-F6BC-4D0C-AF4D-2B85509A681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85050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3.jpe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096001" y="3644900"/>
            <a:ext cx="5712884" cy="1801900"/>
          </a:xfrm>
        </p:spPr>
        <p:txBody>
          <a:bodyPr anchor="t">
            <a:noAutofit/>
          </a:bodyPr>
          <a:lstStyle>
            <a:lvl1pPr>
              <a:defRPr sz="1600" cap="none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Введите название презентации</a:t>
            </a:r>
            <a:br>
              <a:rPr lang="ru-RU" dirty="0"/>
            </a:br>
            <a:r>
              <a:rPr lang="en-US" dirty="0"/>
              <a:t>(</a:t>
            </a:r>
            <a:r>
              <a:rPr lang="ru-RU" dirty="0"/>
              <a:t>оставайтесь в пределах области)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83117" y="6129705"/>
            <a:ext cx="5232816" cy="180000"/>
          </a:xfrm>
        </p:spPr>
        <p:txBody>
          <a:bodyPr anchor="b">
            <a:noAutofit/>
          </a:bodyPr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Введите дату</a:t>
            </a:r>
          </a:p>
        </p:txBody>
      </p:sp>
      <p:grpSp>
        <p:nvGrpSpPr>
          <p:cNvPr id="7" name="TitleLogoRus"/>
          <p:cNvGrpSpPr>
            <a:grpSpLocks noChangeAspect="1"/>
          </p:cNvGrpSpPr>
          <p:nvPr/>
        </p:nvGrpSpPr>
        <p:grpSpPr bwMode="auto">
          <a:xfrm>
            <a:off x="10527817" y="5860721"/>
            <a:ext cx="1277243" cy="452631"/>
            <a:chOff x="264" y="1159"/>
            <a:chExt cx="3492" cy="1650"/>
          </a:xfrm>
          <a:solidFill>
            <a:schemeClr val="bg1"/>
          </a:solidFill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30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31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  <p:sp>
          <p:nvSpPr>
            <p:cNvPr id="1024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800">
                <a:solidFill>
                  <a:srgbClr val="3C3C3C"/>
                </a:solidFill>
              </a:endParaRPr>
            </a:p>
          </p:txBody>
        </p:sp>
      </p:grp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10506142" y="5873922"/>
            <a:ext cx="129891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80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83118" y="5940871"/>
            <a:ext cx="5232829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/>
              <a:t>Введите имя автора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83118" y="5752038"/>
            <a:ext cx="5232829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/>
              <a:t>Введите название подразделения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8" y="5563205"/>
            <a:ext cx="5232829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/>
              <a:t>Введите название предприятия</a:t>
            </a:r>
          </a:p>
        </p:txBody>
      </p:sp>
    </p:spTree>
    <p:extLst>
      <p:ext uri="{BB962C8B-B14F-4D97-AF65-F5344CB8AC3E}">
        <p14:creationId xmlns:p14="http://schemas.microsoft.com/office/powerpoint/2010/main" val="20290559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3"/>
            <a:ext cx="5568948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6239937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6239937" y="3897311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573247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383118" y="188641"/>
            <a:ext cx="11413757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383118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383118" y="3897311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6227927" y="1268413"/>
            <a:ext cx="5568948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138729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383118" y="188641"/>
            <a:ext cx="11413757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8208434" y="1268413"/>
            <a:ext cx="358844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383118" y="1268413"/>
            <a:ext cx="358844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295776" y="1268413"/>
            <a:ext cx="358844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750015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383118" y="188641"/>
            <a:ext cx="11413757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383118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6227927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383118" y="3897311"/>
            <a:ext cx="11425767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535191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383118" y="1268412"/>
            <a:ext cx="11425767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383118" y="3904796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6227927" y="3904796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31199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383118" y="3933826"/>
            <a:ext cx="5568951" cy="241141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6239934" y="3933826"/>
            <a:ext cx="5568951" cy="241141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83118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6227927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404009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383118" y="1268760"/>
            <a:ext cx="11413757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9623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6239934" y="1268759"/>
            <a:ext cx="5568949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383118" y="1268414"/>
            <a:ext cx="556895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166981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383118" y="1268759"/>
            <a:ext cx="5548157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383118" y="188641"/>
            <a:ext cx="11413757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6227925" y="1268414"/>
            <a:ext cx="556895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828046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383117" y="3926849"/>
            <a:ext cx="1142576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383119" y="1268414"/>
            <a:ext cx="11413757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47737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2388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383118" y="3926849"/>
            <a:ext cx="356575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4320875" y="3926849"/>
            <a:ext cx="3552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8244874" y="3926849"/>
            <a:ext cx="3564009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383119" y="1268414"/>
            <a:ext cx="11413757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86150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6239934" y="1268759"/>
            <a:ext cx="5568949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83118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383118" y="3897311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788649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6262474" y="1268760"/>
            <a:ext cx="5546409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6262474" y="3923099"/>
            <a:ext cx="5546409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383118" y="1268413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383118" y="3897311"/>
            <a:ext cx="5568948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853120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6262474" y="1268760"/>
            <a:ext cx="5546409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6262474" y="3923099"/>
            <a:ext cx="5546409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383118" y="1268414"/>
            <a:ext cx="5568949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739476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6262474" y="1268760"/>
            <a:ext cx="5546409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6262474" y="3923099"/>
            <a:ext cx="5546409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383118" y="1268760"/>
            <a:ext cx="554815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383118" y="3923099"/>
            <a:ext cx="554815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6462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383117" y="1268414"/>
            <a:ext cx="7537449" cy="3313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8208435" y="1272660"/>
            <a:ext cx="3600451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8208435" y="4809671"/>
            <a:ext cx="3600451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8208435" y="3041166"/>
            <a:ext cx="3600451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4295775" y="4809671"/>
            <a:ext cx="3600451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383117" y="4809671"/>
            <a:ext cx="3600451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744799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3117" y="188641"/>
            <a:ext cx="11425767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383116" y="1241223"/>
            <a:ext cx="360044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4308828" y="1241223"/>
            <a:ext cx="360044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8208436" y="124122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83115" y="1679949"/>
            <a:ext cx="36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4308827" y="1679949"/>
            <a:ext cx="36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8208434" y="1679949"/>
            <a:ext cx="360020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383118" y="3933825"/>
            <a:ext cx="11425767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383116" y="1726556"/>
            <a:ext cx="3600448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4308829" y="1726555"/>
            <a:ext cx="3600449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8208433" y="1726555"/>
            <a:ext cx="36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690172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18" y="1241224"/>
            <a:ext cx="3600449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4294717" y="1739255"/>
            <a:ext cx="36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8208433" y="1739255"/>
            <a:ext cx="36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4294717" y="4407372"/>
            <a:ext cx="36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8208433" y="4407372"/>
            <a:ext cx="36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4296000" y="1253923"/>
            <a:ext cx="36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4294718" y="16926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8208433" y="1253923"/>
            <a:ext cx="36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8207152" y="16926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4294717" y="3922040"/>
            <a:ext cx="36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4293436" y="436076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8208884" y="3922040"/>
            <a:ext cx="36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8207602" y="436076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413834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18" y="1268412"/>
            <a:ext cx="3600449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4294718" y="1268412"/>
            <a:ext cx="3600449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8208433" y="1268412"/>
            <a:ext cx="3600451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384176" y="3068960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4294719" y="3068960"/>
            <a:ext cx="360150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8209491" y="3068960"/>
            <a:ext cx="3600451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83117" y="3507686"/>
            <a:ext cx="36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4294717" y="3507686"/>
            <a:ext cx="36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8208433" y="3507686"/>
            <a:ext cx="36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383117" y="3554292"/>
            <a:ext cx="3600449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4294720" y="3554292"/>
            <a:ext cx="3600449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8209491" y="3554292"/>
            <a:ext cx="3600451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446999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17" y="1268413"/>
            <a:ext cx="264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3312583" y="1268414"/>
            <a:ext cx="8496300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383118" y="3068639"/>
            <a:ext cx="2688167" cy="327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09825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855035" y="2628856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396876" y="2891978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383366" y="2491040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5</a:t>
            </a:r>
          </a:p>
        </p:txBody>
      </p:sp>
      <p:sp>
        <p:nvSpPr>
          <p:cNvPr id="13" name="ContentsTitle3"/>
          <p:cNvSpPr txBox="1"/>
          <p:nvPr/>
        </p:nvSpPr>
        <p:spPr>
          <a:xfrm>
            <a:off x="855035" y="1964953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396876" y="2201366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383366" y="1814439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3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855035" y="2298492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396876" y="2546672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383366" y="2154327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4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855035" y="1278828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396876" y="1510754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383366" y="1115616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855035" y="2961818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396876" y="3237284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383366" y="2830351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6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855035" y="1625065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2" name="line2"/>
          <p:cNvCxnSpPr/>
          <p:nvPr/>
        </p:nvCxnSpPr>
        <p:spPr>
          <a:xfrm>
            <a:off x="396876" y="1856060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383366" y="1468202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2</a:t>
            </a:r>
          </a:p>
        </p:txBody>
      </p:sp>
      <p:sp>
        <p:nvSpPr>
          <p:cNvPr id="29" name="ContentsTitle7"/>
          <p:cNvSpPr txBox="1"/>
          <p:nvPr/>
        </p:nvSpPr>
        <p:spPr>
          <a:xfrm>
            <a:off x="855035" y="3310651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383366" y="3160139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7</a:t>
            </a:r>
          </a:p>
        </p:txBody>
      </p:sp>
      <p:cxnSp>
        <p:nvCxnSpPr>
          <p:cNvPr id="32" name="line7"/>
          <p:cNvCxnSpPr/>
          <p:nvPr/>
        </p:nvCxnSpPr>
        <p:spPr>
          <a:xfrm>
            <a:off x="396876" y="3582590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855035" y="3650537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396876" y="3927896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383366" y="3500025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865718" y="5413477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396876" y="5654426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383366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865718" y="4727348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396876" y="4963814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383366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865718" y="6099598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396876" y="6345037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383366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865718" y="5073587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396876" y="5309120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383366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865718" y="4015823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396876" y="4273202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383366" y="3839911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865718" y="5747018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396876" y="5999732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383366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865718" y="4374760"/>
            <a:ext cx="10658703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87" name="line10"/>
          <p:cNvCxnSpPr/>
          <p:nvPr/>
        </p:nvCxnSpPr>
        <p:spPr>
          <a:xfrm>
            <a:off x="396876" y="4618508"/>
            <a:ext cx="114120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383366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11280576" y="1154655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11280576" y="1499317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11280576" y="1843980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11280576" y="2533306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11280576" y="2877969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11280576" y="3222632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11280576" y="3567295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11280576" y="2188643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11280576" y="3911958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11280576" y="4256620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11280576" y="4601282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11280576" y="4945944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11280576" y="5290606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11280576" y="5635268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11280576" y="5979930"/>
            <a:ext cx="511373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>
                <a:solidFill>
                  <a:schemeClr val="bg2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0526487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18" y="1268413"/>
            <a:ext cx="3600449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4320118" y="1268413"/>
            <a:ext cx="7488765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4320118" y="3055145"/>
            <a:ext cx="7488765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4320118" y="4841877"/>
            <a:ext cx="7488765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701080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объект сле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8208433" y="1268413"/>
            <a:ext cx="3600451" cy="3276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8"/>
          </p:nvPr>
        </p:nvSpPr>
        <p:spPr>
          <a:xfrm>
            <a:off x="383117" y="1268413"/>
            <a:ext cx="7537449" cy="3313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83116" y="4797425"/>
            <a:ext cx="11425768" cy="154781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980128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8" y="3879772"/>
            <a:ext cx="3600449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294718" y="3879772"/>
            <a:ext cx="3600449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8208433" y="3879772"/>
            <a:ext cx="3600451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83118" y="4318498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4294718" y="4318498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8208433" y="4318498"/>
            <a:ext cx="36004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383117" y="4365104"/>
            <a:ext cx="36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4294717" y="4365104"/>
            <a:ext cx="36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8208433" y="4365104"/>
            <a:ext cx="36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383116" y="1262018"/>
            <a:ext cx="11425768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354468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8" y="1241223"/>
            <a:ext cx="3600449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4294718" y="1241223"/>
            <a:ext cx="3600449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8208433" y="1241223"/>
            <a:ext cx="3600451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83118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4294718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8208433" y="1679949"/>
            <a:ext cx="36004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383118" y="1726555"/>
            <a:ext cx="3600449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4294718" y="1726555"/>
            <a:ext cx="3600449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8208434" y="1726555"/>
            <a:ext cx="3600449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383116" y="3890918"/>
            <a:ext cx="11425768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2332437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383118" y="4421682"/>
            <a:ext cx="3600449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8208433" y="1726555"/>
            <a:ext cx="3600451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83117" y="3933825"/>
            <a:ext cx="36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83118" y="437507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8213371" y="1248594"/>
            <a:ext cx="36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8213372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4320117" y="3890918"/>
            <a:ext cx="7488767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383118" y="1262018"/>
            <a:ext cx="7488767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313527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17" y="1262018"/>
            <a:ext cx="36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4294717" y="3933825"/>
            <a:ext cx="36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8208433" y="1262018"/>
            <a:ext cx="36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0" name="Rectangle 9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4296000" y="1262018"/>
            <a:ext cx="36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383117" y="3933825"/>
            <a:ext cx="36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8208433" y="3933825"/>
            <a:ext cx="36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045982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383117" y="1268413"/>
            <a:ext cx="264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83117" y="3032919"/>
            <a:ext cx="264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83117" y="4797426"/>
            <a:ext cx="264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Rectangle 9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3312585" y="1262018"/>
            <a:ext cx="8496300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3312585" y="3055223"/>
            <a:ext cx="8496300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3312585" y="4825956"/>
            <a:ext cx="8496300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465005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311691" y="3032956"/>
            <a:ext cx="8497193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383118" y="1241223"/>
            <a:ext cx="8497193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83117" y="1679949"/>
            <a:ext cx="849719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3311692" y="3471682"/>
            <a:ext cx="849719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383118" y="3068638"/>
            <a:ext cx="2688167" cy="327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9169401" y="1243088"/>
            <a:ext cx="2639484" cy="152127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4"/>
          </p:nvPr>
        </p:nvSpPr>
        <p:spPr>
          <a:xfrm>
            <a:off x="383118" y="1736726"/>
            <a:ext cx="8544983" cy="1044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25"/>
          </p:nvPr>
        </p:nvSpPr>
        <p:spPr>
          <a:xfrm>
            <a:off x="3312585" y="3536950"/>
            <a:ext cx="8496300" cy="28082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567142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383117" y="1241223"/>
            <a:ext cx="552026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83117" y="1726555"/>
            <a:ext cx="5520267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6239155" y="1241223"/>
            <a:ext cx="5520267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6244168" y="1726555"/>
            <a:ext cx="5520267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383117" y="1679949"/>
            <a:ext cx="552026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6239155" y="1679949"/>
            <a:ext cx="552026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410316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383118" y="1268413"/>
            <a:ext cx="7512049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8208433" y="1726555"/>
            <a:ext cx="3600451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8208433" y="1241223"/>
            <a:ext cx="3600451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8208433" y="1679949"/>
            <a:ext cx="36004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03213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3117" y="2611513"/>
            <a:ext cx="11425767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396875" y="3429000"/>
            <a:ext cx="1140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11517813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11629697" y="6503915"/>
            <a:ext cx="288032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0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83117" y="3644901"/>
            <a:ext cx="11425767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 Введите текст</a:t>
            </a:r>
          </a:p>
        </p:txBody>
      </p:sp>
      <p:sp>
        <p:nvSpPr>
          <p:cNvPr id="11" name="LogoRus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1000" noProof="0" dirty="0">
                <a:solidFill>
                  <a:schemeClr val="bg2"/>
                </a:solidFill>
              </a:rPr>
              <a:t>Газпром нефть</a:t>
            </a:r>
          </a:p>
        </p:txBody>
      </p:sp>
      <p:sp>
        <p:nvSpPr>
          <p:cNvPr id="14" name="LogoEng" hidden="1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dirty="0">
                <a:solidFill>
                  <a:schemeClr val="bg2"/>
                </a:solidFill>
              </a:rPr>
              <a:t>Gazprom</a:t>
            </a:r>
            <a:r>
              <a:rPr lang="en-US" sz="1000" baseline="0" noProof="0" dirty="0">
                <a:solidFill>
                  <a:schemeClr val="bg2"/>
                </a:solidFill>
              </a:rPr>
              <a:t> </a:t>
            </a:r>
            <a:r>
              <a:rPr lang="en-US" sz="1000" baseline="0" noProof="0" dirty="0" err="1">
                <a:solidFill>
                  <a:schemeClr val="bg2"/>
                </a:solidFill>
              </a:rPr>
              <a:t>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396873" y="6499447"/>
            <a:ext cx="672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46525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383117" y="393447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83117" y="437145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4294718" y="393447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4294718" y="437145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8208434" y="393447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8208434" y="4371456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383117" y="1726555"/>
            <a:ext cx="3600449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383117" y="124122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383117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4294718" y="124122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4294718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8208434" y="124122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8208434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4294718" y="1726555"/>
            <a:ext cx="3600449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8208433" y="1726555"/>
            <a:ext cx="3600451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383118" y="4418062"/>
            <a:ext cx="3600449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4294718" y="4418062"/>
            <a:ext cx="3600449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8208433" y="4418062"/>
            <a:ext cx="3600451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177003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4319804" y="1726556"/>
            <a:ext cx="3600449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8208433" y="1726556"/>
            <a:ext cx="3600451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4319804" y="1241223"/>
            <a:ext cx="3600449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4319804" y="1679949"/>
            <a:ext cx="360044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8208433" y="1679949"/>
            <a:ext cx="36004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383119" y="1268413"/>
            <a:ext cx="3649133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4319802" y="4797425"/>
            <a:ext cx="7489081" cy="15478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22" hasCustomPrompt="1"/>
          </p:nvPr>
        </p:nvSpPr>
        <p:spPr>
          <a:xfrm>
            <a:off x="8208433" y="1241223"/>
            <a:ext cx="3600451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Введите 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365018695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383118" y="1268412"/>
            <a:ext cx="11425767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7" y="5645363"/>
            <a:ext cx="11425767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383118" y="2204865"/>
            <a:ext cx="5568948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6231467" y="2204865"/>
            <a:ext cx="5568948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503388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383118" y="1268413"/>
            <a:ext cx="11425767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8" y="5645363"/>
            <a:ext cx="11425767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383118" y="2204865"/>
            <a:ext cx="11425767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3023919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8208433" y="1726556"/>
            <a:ext cx="3600451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8208433" y="1241223"/>
            <a:ext cx="3600451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8208433" y="1679949"/>
            <a:ext cx="36004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383119" y="1268413"/>
            <a:ext cx="3649133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4271434" y="1268413"/>
            <a:ext cx="3649133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130074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83118" y="3033713"/>
            <a:ext cx="3600449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4294718" y="3033713"/>
            <a:ext cx="3600449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8208433" y="3033713"/>
            <a:ext cx="3600451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383118" y="4797425"/>
            <a:ext cx="3600449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4294718" y="4797425"/>
            <a:ext cx="3600449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8208433" y="4797425"/>
            <a:ext cx="3600451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383118" y="1268413"/>
            <a:ext cx="11425767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7471255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622549" y="4797425"/>
            <a:ext cx="5280836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292293742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83118" y="5645363"/>
            <a:ext cx="11425767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383118" y="1268413"/>
            <a:ext cx="11425767" cy="41768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134827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394738" y="3933825"/>
            <a:ext cx="3551767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4320118" y="3933825"/>
            <a:ext cx="3551767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8244875" y="3933825"/>
            <a:ext cx="3552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8" name="Rectangle 7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383118" y="1268414"/>
            <a:ext cx="11425767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589870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383118" y="1268413"/>
            <a:ext cx="11425767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383118" y="3861048"/>
            <a:ext cx="11425767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3118" y="3293452"/>
            <a:ext cx="11425767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383118" y="5901467"/>
            <a:ext cx="11425767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28328719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3117" y="1268413"/>
            <a:ext cx="11425767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11517813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11629697" y="6503915"/>
            <a:ext cx="288032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0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83118" y="2924931"/>
            <a:ext cx="11425767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/>
              <a:t>Текст</a:t>
            </a:r>
          </a:p>
        </p:txBody>
      </p:sp>
      <p:sp>
        <p:nvSpPr>
          <p:cNvPr id="9" name="LogoRus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1000" noProof="0" dirty="0">
                <a:solidFill>
                  <a:schemeClr val="bg2"/>
                </a:solidFill>
              </a:rPr>
              <a:t>Газпром нефть</a:t>
            </a:r>
          </a:p>
        </p:txBody>
      </p:sp>
      <p:sp>
        <p:nvSpPr>
          <p:cNvPr id="11" name="LogoEng" hidden="1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dirty="0">
                <a:solidFill>
                  <a:schemeClr val="bg2"/>
                </a:solidFill>
              </a:rPr>
              <a:t>Gazprom</a:t>
            </a:r>
            <a:r>
              <a:rPr lang="en-US" sz="1000" baseline="0" noProof="0" dirty="0">
                <a:solidFill>
                  <a:schemeClr val="bg2"/>
                </a:solidFill>
              </a:rPr>
              <a:t> </a:t>
            </a:r>
            <a:r>
              <a:rPr lang="en-US" sz="1000" baseline="0" noProof="0" dirty="0" err="1">
                <a:solidFill>
                  <a:schemeClr val="bg2"/>
                </a:solidFill>
              </a:rPr>
              <a:t>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396873" y="6499447"/>
            <a:ext cx="672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46525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8" name="Rectangle 7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8208433" y="3068638"/>
            <a:ext cx="3600448" cy="327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8208433" y="1268413"/>
            <a:ext cx="3600448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383117" y="1268412"/>
            <a:ext cx="7537449" cy="50768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763019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383118" y="1268413"/>
            <a:ext cx="11425767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86829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39925" y="274639"/>
            <a:ext cx="9342475" cy="1033167"/>
          </a:xfrm>
          <a:prstGeom prst="rect">
            <a:avLst/>
          </a:prstGeom>
        </p:spPr>
        <p:txBody>
          <a:bodyPr anchor="ctr"/>
          <a:lstStyle>
            <a:lvl1pPr algn="l">
              <a:defRPr lang="en-US" sz="2000" b="0" i="0" kern="1200" dirty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4" name="Номер слайда 4"/>
          <p:cNvSpPr txBox="1">
            <a:spLocks/>
          </p:cNvSpPr>
          <p:nvPr userDrawn="1"/>
        </p:nvSpPr>
        <p:spPr>
          <a:xfrm>
            <a:off x="11655645" y="6542440"/>
            <a:ext cx="1016000" cy="503237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457200" rtl="0" eaLnBrk="1" latinLnBrk="0" hangingPunct="1">
              <a:defRPr sz="1600" kern="1200">
                <a:solidFill>
                  <a:schemeClr val="bg1"/>
                </a:solidFill>
                <a:latin typeface="Franklin Gothic Demi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658F0A67-7437-47D5-B279-798672A0E24E}" type="slidenum">
              <a:rPr lang="ru-RU" sz="11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1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411480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7852"/>
            <a:ext cx="12192000" cy="736905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36" y="1637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36" y="1637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679616" y="191621"/>
            <a:ext cx="7974857" cy="292388"/>
          </a:xfrm>
        </p:spPr>
        <p:txBody>
          <a:bodyPr/>
          <a:lstStyle>
            <a:lvl1pPr>
              <a:defRPr lang="ru-RU" sz="1900" kern="1200" dirty="0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9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2147" fontAlgn="base">
              <a:spcBef>
                <a:spcPct val="0"/>
              </a:spcBef>
              <a:spcAft>
                <a:spcPct val="0"/>
              </a:spcAft>
            </a:pPr>
            <a:endParaRPr lang="ru-RU" sz="800" dirty="0">
              <a:solidFill>
                <a:srgbClr val="808080"/>
              </a:solidFill>
            </a:endParaRPr>
          </a:p>
        </p:txBody>
      </p:sp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02D855AC-A85F-4F14-947A-B1E3ACE462A2}"/>
              </a:ext>
            </a:extLst>
          </p:cNvPr>
          <p:cNvSpPr txBox="1"/>
          <p:nvPr/>
        </p:nvSpPr>
        <p:spPr>
          <a:xfrm>
            <a:off x="10490965" y="6641687"/>
            <a:ext cx="1033691" cy="125612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defTabSz="913017"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808080"/>
                </a:solidFill>
              </a:rPr>
              <a:t>McKinsey &amp; Company</a:t>
            </a:r>
            <a:endParaRPr lang="ru-RU" sz="800">
              <a:solidFill>
                <a:srgbClr val="808080"/>
              </a:solidFill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157023" y="868218"/>
            <a:ext cx="11761766" cy="37869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017"/>
            <a:endParaRPr lang="ru-RU" sz="1900" dirty="0" err="1">
              <a:solidFill>
                <a:srgbClr val="000000"/>
              </a:solidFill>
            </a:endParaRPr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10534650" y="6429375"/>
            <a:ext cx="1524000" cy="4286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017"/>
            <a:endParaRPr lang="ru-RU" sz="1900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110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Газпром нефть |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C660C9-22AD-407C-B31D-032DF1DF99B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768158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7" name="think-cell Slide" r:id="rId4" imgW="366" imgH="367" progId="TCLayout.ActiveDocument.1">
                  <p:embed/>
                </p:oleObj>
              </mc:Choice>
              <mc:Fallback>
                <p:oleObj name="think-cell Slide" r:id="rId4" imgW="366" imgH="367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ru-RU"/>
              <a:t>Газпром нефть </a:t>
            </a:r>
            <a:r>
              <a:rPr lang="en-US"/>
              <a:t>|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9DD1E3-6A4C-4EAD-8C60-6224EEF6326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79657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4"/>
            <a:ext cx="11425765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467985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383119" y="1268414"/>
            <a:ext cx="5568948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6239937" y="1268414"/>
            <a:ext cx="5568948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52465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4"/>
            <a:ext cx="11425765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383119" y="3894138"/>
            <a:ext cx="11425765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12957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83118" y="4797425"/>
            <a:ext cx="11425767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Текст</a:t>
            </a:r>
          </a:p>
        </p:txBody>
      </p:sp>
      <p:sp>
        <p:nvSpPr>
          <p:cNvPr id="6" name="Rectangle 5"/>
          <p:cNvSpPr/>
          <p:nvPr/>
        </p:nvSpPr>
        <p:spPr>
          <a:xfrm>
            <a:off x="12192000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383119" y="1268413"/>
            <a:ext cx="11425765" cy="2844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129572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3118" y="188641"/>
            <a:ext cx="11413757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83119" y="1268413"/>
            <a:ext cx="11425765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Первый уровень</a:t>
            </a:r>
          </a:p>
          <a:p>
            <a:pPr lvl="2"/>
            <a:r>
              <a:rPr lang="ru-RU" dirty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383118" y="1011208"/>
            <a:ext cx="1141375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11517813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11629697" y="6503915"/>
            <a:ext cx="288032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0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12" name="LogoRus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1000" noProof="0" dirty="0">
                <a:solidFill>
                  <a:schemeClr val="bg2"/>
                </a:solidFill>
              </a:rPr>
              <a:t>Газпром нефть</a:t>
            </a:r>
          </a:p>
        </p:txBody>
      </p:sp>
      <p:sp>
        <p:nvSpPr>
          <p:cNvPr id="13" name="LogoEng" hidden="1"/>
          <p:cNvSpPr/>
          <p:nvPr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dirty="0">
                <a:solidFill>
                  <a:schemeClr val="bg2"/>
                </a:solidFill>
              </a:rPr>
              <a:t>Gazprom</a:t>
            </a:r>
            <a:r>
              <a:rPr lang="en-US" sz="1000" baseline="0" noProof="0" dirty="0">
                <a:solidFill>
                  <a:schemeClr val="bg2"/>
                </a:solidFill>
              </a:rPr>
              <a:t> </a:t>
            </a:r>
            <a:r>
              <a:rPr lang="en-US" sz="1000" baseline="0" noProof="0" dirty="0" err="1">
                <a:solidFill>
                  <a:schemeClr val="bg2"/>
                </a:solidFill>
              </a:rPr>
              <a:t>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396873" y="6499447"/>
            <a:ext cx="672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78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4" r:id="rId52"/>
    <p:sldLayoutId id="2147483717" r:id="rId53"/>
    <p:sldLayoutId id="2147483718" r:id="rId54"/>
    <p:sldLayoutId id="2147483719" r:id="rId55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rgbClr val="2FB4E9"/>
            </a:gs>
            <a:gs pos="100000">
              <a:srgbClr val="0070BA"/>
            </a:gs>
          </a:gsLst>
          <a:lin ang="135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9061924" y="4414053"/>
            <a:ext cx="4869351" cy="572783"/>
          </a:xfrm>
          <a:prstGeom prst="rect">
            <a:avLst/>
          </a:prstGeom>
        </p:spPr>
        <p:txBody>
          <a:bodyPr wrap="square" lIns="87166" tIns="43592" rIns="87166" bIns="43592">
            <a:spAutoFit/>
          </a:bodyPr>
          <a:lstStyle/>
          <a:p>
            <a:pPr marL="171450" indent="-171450" algn="just">
              <a:buFontTx/>
              <a:buChar char="-"/>
            </a:pPr>
            <a:r>
              <a:rPr lang="ru-RU" sz="1050" dirty="0" smtClean="0">
                <a:latin typeface="Arial Narrow" panose="020B0606020202030204" pitchFamily="34" charset="0"/>
                <a:ea typeface="Microsoft YaHei" panose="020B0503020204020204" pitchFamily="34" charset="-122"/>
              </a:rPr>
              <a:t>….</a:t>
            </a:r>
          </a:p>
          <a:p>
            <a:pPr marL="171450" indent="-171450" algn="just">
              <a:buFontTx/>
              <a:buChar char="-"/>
            </a:pPr>
            <a:r>
              <a:rPr lang="ru-RU" sz="1050" dirty="0" smtClean="0">
                <a:latin typeface="Arial Narrow" panose="020B0606020202030204" pitchFamily="34" charset="0"/>
                <a:ea typeface="Microsoft YaHei" panose="020B0503020204020204" pitchFamily="34" charset="-122"/>
              </a:rPr>
              <a:t>….</a:t>
            </a:r>
          </a:p>
          <a:p>
            <a:pPr marL="171450" indent="-171450" algn="just">
              <a:buFontTx/>
              <a:buChar char="-"/>
            </a:pPr>
            <a:r>
              <a:rPr lang="ru-RU" sz="1050" dirty="0" smtClean="0">
                <a:latin typeface="Arial Narrow" panose="020B0606020202030204" pitchFamily="34" charset="0"/>
                <a:ea typeface="Microsoft YaHei" panose="020B0503020204020204" pitchFamily="34" charset="-122"/>
              </a:rPr>
              <a:t>….</a:t>
            </a:r>
            <a:endParaRPr lang="ru-RU" sz="1050" dirty="0">
              <a:latin typeface="Arial Narrow" panose="020B060602020203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151784" y="0"/>
            <a:ext cx="8208912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439816" y="620688"/>
            <a:ext cx="5234766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2400" dirty="0" smtClean="0">
                <a:solidFill>
                  <a:srgbClr val="004077"/>
                </a:solidFill>
              </a:rPr>
              <a:t>Описание идеи/решения/технологии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4799856" y="1198915"/>
            <a:ext cx="7128792" cy="1008112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ru-RU" sz="1200" dirty="0" smtClean="0">
                <a:solidFill>
                  <a:schemeClr val="tx1"/>
                </a:solidFill>
              </a:rPr>
              <a:t>Текст…….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4439816" y="2323589"/>
            <a:ext cx="2617383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2400" dirty="0" smtClean="0">
                <a:solidFill>
                  <a:srgbClr val="004077"/>
                </a:solidFill>
              </a:rPr>
              <a:t>Ключевой эффект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4799856" y="2901816"/>
            <a:ext cx="7128792" cy="1008112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ru-RU" sz="1200" dirty="0" smtClean="0">
                <a:solidFill>
                  <a:schemeClr val="tx1"/>
                </a:solidFill>
              </a:rPr>
              <a:t>Текст…….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439816" y="4026490"/>
            <a:ext cx="2483052" cy="46166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2400" dirty="0" smtClean="0">
                <a:solidFill>
                  <a:srgbClr val="004077"/>
                </a:solidFill>
              </a:rPr>
              <a:t>Срок реализации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4799856" y="4604717"/>
            <a:ext cx="7128792" cy="1008112"/>
          </a:xfrm>
          <a:prstGeom prst="rect">
            <a:avLst/>
          </a:prstGeom>
          <a:pattFill prst="lt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ru-RU" sz="1200" dirty="0" smtClean="0">
                <a:solidFill>
                  <a:schemeClr val="tx1"/>
                </a:solidFill>
              </a:rPr>
              <a:t>Текст……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63352" y="504126"/>
            <a:ext cx="11125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ru-RU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1</a:t>
            </a:r>
            <a:r>
              <a:rPr lang="ru-RU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ru-RU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ября 2021 г</a:t>
            </a:r>
            <a:endParaRPr lang="ru-RU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9336" y="1847825"/>
            <a:ext cx="3777014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ЧЕСКАЯ СЕССИЯ</a:t>
            </a:r>
            <a:endParaRPr lang="ru-RU" sz="12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000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Электроразведочные методы поиска и разведки месторождений нефти и газа» </a:t>
            </a:r>
            <a:endParaRPr lang="ru-RU" sz="2000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4151784" cy="6858000"/>
          </a:xfrm>
          <a:prstGeom prst="rect">
            <a:avLst/>
          </a:prstGeom>
          <a:blipFill dpi="0" rotWithShape="1">
            <a:blip r:embed="rId6">
              <a:alphaModFix amt="14000"/>
            </a:blip>
            <a:srcRect/>
            <a:stretch>
              <a:fillRect/>
            </a:stretch>
          </a:blip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1547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325</TotalTime>
  <Words>32</Words>
  <Application>Microsoft Office PowerPoint</Application>
  <PresentationFormat>Широкоэкранный</PresentationFormat>
  <Paragraphs>12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8" baseType="lpstr">
      <vt:lpstr>Arial</vt:lpstr>
      <vt:lpstr>Arial Narrow</vt:lpstr>
      <vt:lpstr>Calibri</vt:lpstr>
      <vt:lpstr>Microsoft YaHei</vt:lpstr>
      <vt:lpstr>Wingdings</vt:lpstr>
      <vt:lpstr>gpn_report</vt:lpstr>
      <vt:lpstr>think-cell Slide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ригорьев Глеб Сергеевич</dc:creator>
  <cp:lastModifiedBy>Гулин Владимир Дмитриевич</cp:lastModifiedBy>
  <cp:revision>2613</cp:revision>
  <cp:lastPrinted>2019-07-16T06:22:59Z</cp:lastPrinted>
  <dcterms:created xsi:type="dcterms:W3CDTF">2015-01-16T12:15:42Z</dcterms:created>
  <dcterms:modified xsi:type="dcterms:W3CDTF">2021-10-14T06:11:48Z</dcterms:modified>
</cp:coreProperties>
</file>